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sldIdLst>
    <p:sldId id="256" r:id="rId2"/>
  </p:sldIdLst>
  <p:sldSz cx="3095625" cy="1584325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>
        <p:scale>
          <a:sx n="400" d="100"/>
          <a:sy n="400" d="100"/>
        </p:scale>
        <p:origin x="-78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59287"/>
            <a:ext cx="2321719" cy="551580"/>
          </a:xfrm>
        </p:spPr>
        <p:txBody>
          <a:bodyPr anchor="b"/>
          <a:lstStyle>
            <a:lvl1pPr algn="ctr">
              <a:defRPr sz="1386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832137"/>
            <a:ext cx="2321719" cy="382512"/>
          </a:xfrm>
        </p:spPr>
        <p:txBody>
          <a:bodyPr/>
          <a:lstStyle>
            <a:lvl1pPr marL="0" indent="0" algn="ctr">
              <a:buNone/>
              <a:defRPr sz="554"/>
            </a:lvl1pPr>
            <a:lvl2pPr marL="105613" indent="0" algn="ctr">
              <a:buNone/>
              <a:defRPr sz="462"/>
            </a:lvl2pPr>
            <a:lvl3pPr marL="211226" indent="0" algn="ctr">
              <a:buNone/>
              <a:defRPr sz="416"/>
            </a:lvl3pPr>
            <a:lvl4pPr marL="316840" indent="0" algn="ctr">
              <a:buNone/>
              <a:defRPr sz="370"/>
            </a:lvl4pPr>
            <a:lvl5pPr marL="422453" indent="0" algn="ctr">
              <a:buNone/>
              <a:defRPr sz="370"/>
            </a:lvl5pPr>
            <a:lvl6pPr marL="528066" indent="0" algn="ctr">
              <a:buNone/>
              <a:defRPr sz="370"/>
            </a:lvl6pPr>
            <a:lvl7pPr marL="633679" indent="0" algn="ctr">
              <a:buNone/>
              <a:defRPr sz="370"/>
            </a:lvl7pPr>
            <a:lvl8pPr marL="739292" indent="0" algn="ctr">
              <a:buNone/>
              <a:defRPr sz="370"/>
            </a:lvl8pPr>
            <a:lvl9pPr marL="844906" indent="0" algn="ctr">
              <a:buNone/>
              <a:defRPr sz="37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7225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7079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84351"/>
            <a:ext cx="667494" cy="134264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84351"/>
            <a:ext cx="1963787" cy="1342642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046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312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394981"/>
            <a:ext cx="2669977" cy="659035"/>
          </a:xfrm>
        </p:spPr>
        <p:txBody>
          <a:bodyPr anchor="b"/>
          <a:lstStyle>
            <a:lvl1pPr>
              <a:defRPr sz="1386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1060251"/>
            <a:ext cx="2669977" cy="346571"/>
          </a:xfrm>
        </p:spPr>
        <p:txBody>
          <a:bodyPr/>
          <a:lstStyle>
            <a:lvl1pPr marL="0" indent="0">
              <a:buNone/>
              <a:defRPr sz="554">
                <a:solidFill>
                  <a:schemeClr val="tx1">
                    <a:tint val="75000"/>
                  </a:schemeClr>
                </a:solidFill>
              </a:defRPr>
            </a:lvl1pPr>
            <a:lvl2pPr marL="105613" indent="0">
              <a:buNone/>
              <a:defRPr sz="462">
                <a:solidFill>
                  <a:schemeClr val="tx1">
                    <a:tint val="75000"/>
                  </a:schemeClr>
                </a:solidFill>
              </a:defRPr>
            </a:lvl2pPr>
            <a:lvl3pPr marL="211226" indent="0">
              <a:buNone/>
              <a:defRPr sz="416">
                <a:solidFill>
                  <a:schemeClr val="tx1">
                    <a:tint val="75000"/>
                  </a:schemeClr>
                </a:solidFill>
              </a:defRPr>
            </a:lvl3pPr>
            <a:lvl4pPr marL="316840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4pPr>
            <a:lvl5pPr marL="422453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5pPr>
            <a:lvl6pPr marL="528066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6pPr>
            <a:lvl7pPr marL="633679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7pPr>
            <a:lvl8pPr marL="739292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8pPr>
            <a:lvl9pPr marL="844906" indent="0">
              <a:buNone/>
              <a:defRPr sz="37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6089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421753"/>
            <a:ext cx="1315641" cy="1005240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421753"/>
            <a:ext cx="1315641" cy="1005240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727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84351"/>
            <a:ext cx="2669977" cy="30623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388380"/>
            <a:ext cx="1309594" cy="190339"/>
          </a:xfrm>
        </p:spPr>
        <p:txBody>
          <a:bodyPr anchor="b"/>
          <a:lstStyle>
            <a:lvl1pPr marL="0" indent="0">
              <a:buNone/>
              <a:defRPr sz="554" b="1"/>
            </a:lvl1pPr>
            <a:lvl2pPr marL="105613" indent="0">
              <a:buNone/>
              <a:defRPr sz="462" b="1"/>
            </a:lvl2pPr>
            <a:lvl3pPr marL="211226" indent="0">
              <a:buNone/>
              <a:defRPr sz="416" b="1"/>
            </a:lvl3pPr>
            <a:lvl4pPr marL="316840" indent="0">
              <a:buNone/>
              <a:defRPr sz="370" b="1"/>
            </a:lvl4pPr>
            <a:lvl5pPr marL="422453" indent="0">
              <a:buNone/>
              <a:defRPr sz="370" b="1"/>
            </a:lvl5pPr>
            <a:lvl6pPr marL="528066" indent="0">
              <a:buNone/>
              <a:defRPr sz="370" b="1"/>
            </a:lvl6pPr>
            <a:lvl7pPr marL="633679" indent="0">
              <a:buNone/>
              <a:defRPr sz="370" b="1"/>
            </a:lvl7pPr>
            <a:lvl8pPr marL="739292" indent="0">
              <a:buNone/>
              <a:defRPr sz="370" b="1"/>
            </a:lvl8pPr>
            <a:lvl9pPr marL="844906" indent="0">
              <a:buNone/>
              <a:defRPr sz="37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578719"/>
            <a:ext cx="1309594" cy="85120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388380"/>
            <a:ext cx="1316044" cy="190339"/>
          </a:xfrm>
        </p:spPr>
        <p:txBody>
          <a:bodyPr anchor="b"/>
          <a:lstStyle>
            <a:lvl1pPr marL="0" indent="0">
              <a:buNone/>
              <a:defRPr sz="554" b="1"/>
            </a:lvl1pPr>
            <a:lvl2pPr marL="105613" indent="0">
              <a:buNone/>
              <a:defRPr sz="462" b="1"/>
            </a:lvl2pPr>
            <a:lvl3pPr marL="211226" indent="0">
              <a:buNone/>
              <a:defRPr sz="416" b="1"/>
            </a:lvl3pPr>
            <a:lvl4pPr marL="316840" indent="0">
              <a:buNone/>
              <a:defRPr sz="370" b="1"/>
            </a:lvl4pPr>
            <a:lvl5pPr marL="422453" indent="0">
              <a:buNone/>
              <a:defRPr sz="370" b="1"/>
            </a:lvl5pPr>
            <a:lvl6pPr marL="528066" indent="0">
              <a:buNone/>
              <a:defRPr sz="370" b="1"/>
            </a:lvl6pPr>
            <a:lvl7pPr marL="633679" indent="0">
              <a:buNone/>
              <a:defRPr sz="370" b="1"/>
            </a:lvl7pPr>
            <a:lvl8pPr marL="739292" indent="0">
              <a:buNone/>
              <a:defRPr sz="370" b="1"/>
            </a:lvl8pPr>
            <a:lvl9pPr marL="844906" indent="0">
              <a:buNone/>
              <a:defRPr sz="37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578719"/>
            <a:ext cx="1316044" cy="85120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640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4469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8642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5622"/>
            <a:ext cx="998420" cy="369676"/>
          </a:xfrm>
        </p:spPr>
        <p:txBody>
          <a:bodyPr anchor="b"/>
          <a:lstStyle>
            <a:lvl1pPr>
              <a:defRPr sz="73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28113"/>
            <a:ext cx="1567160" cy="1125898"/>
          </a:xfrm>
        </p:spPr>
        <p:txBody>
          <a:bodyPr/>
          <a:lstStyle>
            <a:lvl1pPr>
              <a:defRPr sz="739"/>
            </a:lvl1pPr>
            <a:lvl2pPr>
              <a:defRPr sz="647"/>
            </a:lvl2pPr>
            <a:lvl3pPr>
              <a:defRPr sz="554"/>
            </a:lvl3pPr>
            <a:lvl4pPr>
              <a:defRPr sz="462"/>
            </a:lvl4pPr>
            <a:lvl5pPr>
              <a:defRPr sz="462"/>
            </a:lvl5pPr>
            <a:lvl6pPr>
              <a:defRPr sz="462"/>
            </a:lvl6pPr>
            <a:lvl7pPr>
              <a:defRPr sz="462"/>
            </a:lvl7pPr>
            <a:lvl8pPr>
              <a:defRPr sz="462"/>
            </a:lvl8pPr>
            <a:lvl9pPr>
              <a:defRPr sz="462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75298"/>
            <a:ext cx="998420" cy="880547"/>
          </a:xfrm>
        </p:spPr>
        <p:txBody>
          <a:bodyPr/>
          <a:lstStyle>
            <a:lvl1pPr marL="0" indent="0">
              <a:buNone/>
              <a:defRPr sz="370"/>
            </a:lvl1pPr>
            <a:lvl2pPr marL="105613" indent="0">
              <a:buNone/>
              <a:defRPr sz="323"/>
            </a:lvl2pPr>
            <a:lvl3pPr marL="211226" indent="0">
              <a:buNone/>
              <a:defRPr sz="277"/>
            </a:lvl3pPr>
            <a:lvl4pPr marL="316840" indent="0">
              <a:buNone/>
              <a:defRPr sz="231"/>
            </a:lvl4pPr>
            <a:lvl5pPr marL="422453" indent="0">
              <a:buNone/>
              <a:defRPr sz="231"/>
            </a:lvl5pPr>
            <a:lvl6pPr marL="528066" indent="0">
              <a:buNone/>
              <a:defRPr sz="231"/>
            </a:lvl6pPr>
            <a:lvl7pPr marL="633679" indent="0">
              <a:buNone/>
              <a:defRPr sz="231"/>
            </a:lvl7pPr>
            <a:lvl8pPr marL="739292" indent="0">
              <a:buNone/>
              <a:defRPr sz="231"/>
            </a:lvl8pPr>
            <a:lvl9pPr marL="844906" indent="0">
              <a:buNone/>
              <a:defRPr sz="23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44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5622"/>
            <a:ext cx="998420" cy="369676"/>
          </a:xfrm>
        </p:spPr>
        <p:txBody>
          <a:bodyPr anchor="b"/>
          <a:lstStyle>
            <a:lvl1pPr>
              <a:defRPr sz="73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28113"/>
            <a:ext cx="1567160" cy="1125898"/>
          </a:xfrm>
        </p:spPr>
        <p:txBody>
          <a:bodyPr anchor="t"/>
          <a:lstStyle>
            <a:lvl1pPr marL="0" indent="0">
              <a:buNone/>
              <a:defRPr sz="739"/>
            </a:lvl1pPr>
            <a:lvl2pPr marL="105613" indent="0">
              <a:buNone/>
              <a:defRPr sz="647"/>
            </a:lvl2pPr>
            <a:lvl3pPr marL="211226" indent="0">
              <a:buNone/>
              <a:defRPr sz="554"/>
            </a:lvl3pPr>
            <a:lvl4pPr marL="316840" indent="0">
              <a:buNone/>
              <a:defRPr sz="462"/>
            </a:lvl4pPr>
            <a:lvl5pPr marL="422453" indent="0">
              <a:buNone/>
              <a:defRPr sz="462"/>
            </a:lvl5pPr>
            <a:lvl6pPr marL="528066" indent="0">
              <a:buNone/>
              <a:defRPr sz="462"/>
            </a:lvl6pPr>
            <a:lvl7pPr marL="633679" indent="0">
              <a:buNone/>
              <a:defRPr sz="462"/>
            </a:lvl7pPr>
            <a:lvl8pPr marL="739292" indent="0">
              <a:buNone/>
              <a:defRPr sz="462"/>
            </a:lvl8pPr>
            <a:lvl9pPr marL="844906" indent="0">
              <a:buNone/>
              <a:defRPr sz="462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75298"/>
            <a:ext cx="998420" cy="880547"/>
          </a:xfrm>
        </p:spPr>
        <p:txBody>
          <a:bodyPr/>
          <a:lstStyle>
            <a:lvl1pPr marL="0" indent="0">
              <a:buNone/>
              <a:defRPr sz="370"/>
            </a:lvl1pPr>
            <a:lvl2pPr marL="105613" indent="0">
              <a:buNone/>
              <a:defRPr sz="323"/>
            </a:lvl2pPr>
            <a:lvl3pPr marL="211226" indent="0">
              <a:buNone/>
              <a:defRPr sz="277"/>
            </a:lvl3pPr>
            <a:lvl4pPr marL="316840" indent="0">
              <a:buNone/>
              <a:defRPr sz="231"/>
            </a:lvl4pPr>
            <a:lvl5pPr marL="422453" indent="0">
              <a:buNone/>
              <a:defRPr sz="231"/>
            </a:lvl5pPr>
            <a:lvl6pPr marL="528066" indent="0">
              <a:buNone/>
              <a:defRPr sz="231"/>
            </a:lvl6pPr>
            <a:lvl7pPr marL="633679" indent="0">
              <a:buNone/>
              <a:defRPr sz="231"/>
            </a:lvl7pPr>
            <a:lvl8pPr marL="739292" indent="0">
              <a:buNone/>
              <a:defRPr sz="231"/>
            </a:lvl8pPr>
            <a:lvl9pPr marL="844906" indent="0">
              <a:buNone/>
              <a:defRPr sz="23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99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84351"/>
            <a:ext cx="2669977" cy="3062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421753"/>
            <a:ext cx="2669977" cy="1005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468434"/>
            <a:ext cx="696516" cy="843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18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468434"/>
            <a:ext cx="1044773" cy="843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468434"/>
            <a:ext cx="696516" cy="843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56427645"/>
              </p:ext>
            </p:extLst>
          </p:nvPr>
        </p:nvGraphicFramePr>
        <p:xfrm>
          <a:off x="407" y="368"/>
          <a:ext cx="403" cy="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7" y="368"/>
                        <a:ext cx="403" cy="3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2"/>
            <a:ext cx="40308" cy="36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1016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111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211226" rtl="0" eaLnBrk="1" latinLnBrk="0" hangingPunct="1">
        <a:lnSpc>
          <a:spcPct val="90000"/>
        </a:lnSpc>
        <a:spcBef>
          <a:spcPct val="0"/>
        </a:spcBef>
        <a:buNone/>
        <a:defRPr sz="10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2807" indent="-52807" algn="l" defTabSz="211226" rtl="0" eaLnBrk="1" latinLnBrk="0" hangingPunct="1">
        <a:lnSpc>
          <a:spcPct val="90000"/>
        </a:lnSpc>
        <a:spcBef>
          <a:spcPts val="231"/>
        </a:spcBef>
        <a:buFont typeface="Arial" panose="020B0604020202020204" pitchFamily="34" charset="0"/>
        <a:buChar char="•"/>
        <a:defRPr sz="647" kern="1200">
          <a:solidFill>
            <a:schemeClr val="tx1"/>
          </a:solidFill>
          <a:latin typeface="+mn-lt"/>
          <a:ea typeface="+mn-ea"/>
          <a:cs typeface="+mn-cs"/>
        </a:defRPr>
      </a:lvl1pPr>
      <a:lvl2pPr marL="158420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554" kern="1200">
          <a:solidFill>
            <a:schemeClr val="tx1"/>
          </a:solidFill>
          <a:latin typeface="+mn-lt"/>
          <a:ea typeface="+mn-ea"/>
          <a:cs typeface="+mn-cs"/>
        </a:defRPr>
      </a:lvl2pPr>
      <a:lvl3pPr marL="264033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62" kern="1200">
          <a:solidFill>
            <a:schemeClr val="tx1"/>
          </a:solidFill>
          <a:latin typeface="+mn-lt"/>
          <a:ea typeface="+mn-ea"/>
          <a:cs typeface="+mn-cs"/>
        </a:defRPr>
      </a:lvl3pPr>
      <a:lvl4pPr marL="369646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4pPr>
      <a:lvl5pPr marL="475259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5pPr>
      <a:lvl6pPr marL="580873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6pPr>
      <a:lvl7pPr marL="686486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7pPr>
      <a:lvl8pPr marL="792099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8pPr>
      <a:lvl9pPr marL="897712" indent="-52807" algn="l" defTabSz="211226" rtl="0" eaLnBrk="1" latinLnBrk="0" hangingPunct="1">
        <a:lnSpc>
          <a:spcPct val="90000"/>
        </a:lnSpc>
        <a:spcBef>
          <a:spcPts val="116"/>
        </a:spcBef>
        <a:buFont typeface="Arial" panose="020B0604020202020204" pitchFamily="34" charset="0"/>
        <a:buChar char="•"/>
        <a:defRPr sz="4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1pPr>
      <a:lvl2pPr marL="105613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2pPr>
      <a:lvl3pPr marL="211226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3pPr>
      <a:lvl4pPr marL="316840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4pPr>
      <a:lvl5pPr marL="422453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5pPr>
      <a:lvl6pPr marL="528066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6pPr>
      <a:lvl7pPr marL="633679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7pPr>
      <a:lvl8pPr marL="739292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8pPr>
      <a:lvl9pPr marL="844906" algn="l" defTabSz="211226" rtl="0" eaLnBrk="1" latinLnBrk="0" hangingPunct="1">
        <a:defRPr sz="4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727197"/>
              </p:ext>
            </p:extLst>
          </p:nvPr>
        </p:nvGraphicFramePr>
        <p:xfrm>
          <a:off x="-6254833" y="-3724727"/>
          <a:ext cx="2185" cy="21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6254833" y="-3724727"/>
                        <a:ext cx="2185" cy="21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Textfeld 134"/>
          <p:cNvSpPr txBox="1"/>
          <p:nvPr/>
        </p:nvSpPr>
        <p:spPr>
          <a:xfrm>
            <a:off x="-87620" y="-78258"/>
            <a:ext cx="2936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</a:p>
        </p:txBody>
      </p:sp>
      <p:sp>
        <p:nvSpPr>
          <p:cNvPr id="136" name="Textfeld 135"/>
          <p:cNvSpPr txBox="1"/>
          <p:nvPr/>
        </p:nvSpPr>
        <p:spPr>
          <a:xfrm>
            <a:off x="1411505" y="-78258"/>
            <a:ext cx="3016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722323" y="183352"/>
            <a:ext cx="0" cy="1357159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583342" y="-27253"/>
                <a:ext cx="277961" cy="227755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8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𝑦</m:t>
                      </m:r>
                    </m:oMath>
                  </m:oMathPara>
                </a14:m>
                <a:endParaRPr lang="de-DE" sz="88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3342" y="-27253"/>
                <a:ext cx="277961" cy="22775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B793E81E-FD56-46F7-9C8C-B53988AD2FE4}"/>
              </a:ext>
            </a:extLst>
          </p:cNvPr>
          <p:cNvCxnSpPr>
            <a:cxnSpLocks/>
            <a:stCxn id="207" idx="1"/>
            <a:endCxn id="207" idx="3"/>
          </p:cNvCxnSpPr>
          <p:nvPr/>
        </p:nvCxnSpPr>
        <p:spPr>
          <a:xfrm rot="20779304">
            <a:off x="2029950" y="1215914"/>
            <a:ext cx="50746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r Verbinder 205">
            <a:extLst>
              <a:ext uri="{FF2B5EF4-FFF2-40B4-BE49-F238E27FC236}">
                <a16:creationId xmlns:a16="http://schemas.microsoft.com/office/drawing/2014/main" id="{377452BD-980A-4A29-A26C-54953BEEC540}"/>
              </a:ext>
            </a:extLst>
          </p:cNvPr>
          <p:cNvCxnSpPr>
            <a:cxnSpLocks/>
            <a:stCxn id="207" idx="2"/>
            <a:endCxn id="207" idx="0"/>
          </p:cNvCxnSpPr>
          <p:nvPr/>
        </p:nvCxnSpPr>
        <p:spPr>
          <a:xfrm rot="20779304" flipV="1">
            <a:off x="2283683" y="962181"/>
            <a:ext cx="0" cy="50746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>
            <a:extLst>
              <a:ext uri="{FF2B5EF4-FFF2-40B4-BE49-F238E27FC236}">
                <a16:creationId xmlns:a16="http://schemas.microsoft.com/office/drawing/2014/main" id="{C0B305B4-BAEB-49B7-9B56-3109A95A549B}"/>
              </a:ext>
            </a:extLst>
          </p:cNvPr>
          <p:cNvSpPr/>
          <p:nvPr/>
        </p:nvSpPr>
        <p:spPr>
          <a:xfrm rot="20779304">
            <a:off x="2029950" y="962181"/>
            <a:ext cx="507465" cy="5074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grpSp>
        <p:nvGrpSpPr>
          <p:cNvPr id="200" name="Gruppieren 199">
            <a:extLst>
              <a:ext uri="{FF2B5EF4-FFF2-40B4-BE49-F238E27FC236}">
                <a16:creationId xmlns:a16="http://schemas.microsoft.com/office/drawing/2014/main" id="{B9D92FA4-9B2C-4647-B5B5-2D51B77B9E74}"/>
              </a:ext>
            </a:extLst>
          </p:cNvPr>
          <p:cNvGrpSpPr/>
          <p:nvPr/>
        </p:nvGrpSpPr>
        <p:grpSpPr>
          <a:xfrm rot="20779304">
            <a:off x="2259668" y="1016530"/>
            <a:ext cx="180151" cy="179811"/>
            <a:chOff x="2464904" y="4016149"/>
            <a:chExt cx="559488" cy="542600"/>
          </a:xfrm>
        </p:grpSpPr>
        <p:cxnSp>
          <p:nvCxnSpPr>
            <p:cNvPr id="203" name="Gerade Verbindung mit Pfeil 202">
              <a:extLst>
                <a:ext uri="{FF2B5EF4-FFF2-40B4-BE49-F238E27FC236}">
                  <a16:creationId xmlns:a16="http://schemas.microsoft.com/office/drawing/2014/main" id="{0B40EE13-0EE1-4FF6-B0AF-B1DA2D974A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4904" y="4016149"/>
              <a:ext cx="0" cy="542600"/>
            </a:xfrm>
            <a:prstGeom prst="straightConnector1">
              <a:avLst/>
            </a:prstGeom>
            <a:ln w="12700">
              <a:solidFill>
                <a:srgbClr val="FF0000"/>
              </a:solidFill>
              <a:prstDash val="sys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rade Verbindung mit Pfeil 203">
              <a:extLst>
                <a:ext uri="{FF2B5EF4-FFF2-40B4-BE49-F238E27FC236}">
                  <a16:creationId xmlns:a16="http://schemas.microsoft.com/office/drawing/2014/main" id="{5C51F578-96EA-41A5-8D06-C5D1D7E2F4CB}"/>
                </a:ext>
              </a:extLst>
            </p:cNvPr>
            <p:cNvCxnSpPr>
              <a:cxnSpLocks/>
            </p:cNvCxnSpPr>
            <p:nvPr/>
          </p:nvCxnSpPr>
          <p:spPr>
            <a:xfrm>
              <a:off x="2464904" y="4558749"/>
              <a:ext cx="559488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prstDash val="sys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7" name="Textfeld 166">
            <a:extLst>
              <a:ext uri="{FF2B5EF4-FFF2-40B4-BE49-F238E27FC236}">
                <a16:creationId xmlns:a16="http://schemas.microsoft.com/office/drawing/2014/main" id="{E1CEA9CB-867C-4878-A548-C3D75E761F29}"/>
              </a:ext>
            </a:extLst>
          </p:cNvPr>
          <p:cNvSpPr txBox="1"/>
          <p:nvPr/>
        </p:nvSpPr>
        <p:spPr>
          <a:xfrm>
            <a:off x="2388050" y="1223528"/>
            <a:ext cx="2183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I</a:t>
            </a:r>
          </a:p>
        </p:txBody>
      </p:sp>
      <p:cxnSp>
        <p:nvCxnSpPr>
          <p:cNvPr id="187" name="Gerader Verbinder 186">
            <a:extLst>
              <a:ext uri="{FF2B5EF4-FFF2-40B4-BE49-F238E27FC236}">
                <a16:creationId xmlns:a16="http://schemas.microsoft.com/office/drawing/2014/main" id="{8CED74BD-C4EA-493D-BC36-FB2128F8C902}"/>
              </a:ext>
            </a:extLst>
          </p:cNvPr>
          <p:cNvCxnSpPr>
            <a:cxnSpLocks/>
          </p:cNvCxnSpPr>
          <p:nvPr/>
        </p:nvCxnSpPr>
        <p:spPr>
          <a:xfrm flipV="1">
            <a:off x="2467538" y="522699"/>
            <a:ext cx="77788" cy="389686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r Verbinder 192">
            <a:extLst>
              <a:ext uri="{FF2B5EF4-FFF2-40B4-BE49-F238E27FC236}">
                <a16:creationId xmlns:a16="http://schemas.microsoft.com/office/drawing/2014/main" id="{FEDFA5A6-BE5E-488C-B168-346D2F0B1456}"/>
              </a:ext>
            </a:extLst>
          </p:cNvPr>
          <p:cNvCxnSpPr>
            <a:cxnSpLocks/>
          </p:cNvCxnSpPr>
          <p:nvPr/>
        </p:nvCxnSpPr>
        <p:spPr>
          <a:xfrm flipV="1">
            <a:off x="1977146" y="350535"/>
            <a:ext cx="226035" cy="67724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Freihandform: Form 107">
            <a:extLst>
              <a:ext uri="{FF2B5EF4-FFF2-40B4-BE49-F238E27FC236}">
                <a16:creationId xmlns:a16="http://schemas.microsoft.com/office/drawing/2014/main" id="{D6A6B8E1-6B6F-48EA-9DA1-6CF4742793D5}"/>
              </a:ext>
            </a:extLst>
          </p:cNvPr>
          <p:cNvSpPr/>
          <p:nvPr/>
        </p:nvSpPr>
        <p:spPr>
          <a:xfrm>
            <a:off x="2218312" y="394782"/>
            <a:ext cx="64252" cy="569291"/>
          </a:xfrm>
          <a:custGeom>
            <a:avLst/>
            <a:gdLst>
              <a:gd name="connsiteX0" fmla="*/ 14684 w 182324"/>
              <a:gd name="connsiteY0" fmla="*/ 1615440 h 1615440"/>
              <a:gd name="connsiteX1" fmla="*/ 7064 w 182324"/>
              <a:gd name="connsiteY1" fmla="*/ 1539240 h 1615440"/>
              <a:gd name="connsiteX2" fmla="*/ 7064 w 182324"/>
              <a:gd name="connsiteY2" fmla="*/ 1356360 h 1615440"/>
              <a:gd name="connsiteX3" fmla="*/ 98504 w 182324"/>
              <a:gd name="connsiteY3" fmla="*/ 1043940 h 1615440"/>
              <a:gd name="connsiteX4" fmla="*/ 151844 w 182324"/>
              <a:gd name="connsiteY4" fmla="*/ 685800 h 1615440"/>
              <a:gd name="connsiteX5" fmla="*/ 151844 w 182324"/>
              <a:gd name="connsiteY5" fmla="*/ 388620 h 1615440"/>
              <a:gd name="connsiteX6" fmla="*/ 151844 w 182324"/>
              <a:gd name="connsiteY6" fmla="*/ 137160 h 1615440"/>
              <a:gd name="connsiteX7" fmla="*/ 182324 w 182324"/>
              <a:gd name="connsiteY7" fmla="*/ 0 h 161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24" h="1615440">
                <a:moveTo>
                  <a:pt x="14684" y="1615440"/>
                </a:moveTo>
                <a:cubicBezTo>
                  <a:pt x="11509" y="1598930"/>
                  <a:pt x="8334" y="1582420"/>
                  <a:pt x="7064" y="1539240"/>
                </a:cubicBezTo>
                <a:cubicBezTo>
                  <a:pt x="5794" y="1496060"/>
                  <a:pt x="-8176" y="1438910"/>
                  <a:pt x="7064" y="1356360"/>
                </a:cubicBezTo>
                <a:cubicBezTo>
                  <a:pt x="22304" y="1273810"/>
                  <a:pt x="74374" y="1155700"/>
                  <a:pt x="98504" y="1043940"/>
                </a:cubicBezTo>
                <a:cubicBezTo>
                  <a:pt x="122634" y="932180"/>
                  <a:pt x="142954" y="795020"/>
                  <a:pt x="151844" y="685800"/>
                </a:cubicBezTo>
                <a:cubicBezTo>
                  <a:pt x="160734" y="576580"/>
                  <a:pt x="151844" y="388620"/>
                  <a:pt x="151844" y="388620"/>
                </a:cubicBezTo>
                <a:cubicBezTo>
                  <a:pt x="151844" y="297180"/>
                  <a:pt x="146764" y="201930"/>
                  <a:pt x="151844" y="137160"/>
                </a:cubicBezTo>
                <a:cubicBezTo>
                  <a:pt x="156924" y="72390"/>
                  <a:pt x="169624" y="36195"/>
                  <a:pt x="182324" y="0"/>
                </a:cubicBez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/>
          </a:p>
        </p:txBody>
      </p:sp>
      <p:sp>
        <p:nvSpPr>
          <p:cNvPr id="178" name="Ellipse 177">
            <a:extLst>
              <a:ext uri="{FF2B5EF4-FFF2-40B4-BE49-F238E27FC236}">
                <a16:creationId xmlns:a16="http://schemas.microsoft.com/office/drawing/2014/main" id="{9AE32BBD-8828-4FB8-B3EB-A0F66F1A7620}"/>
              </a:ext>
            </a:extLst>
          </p:cNvPr>
          <p:cNvSpPr/>
          <p:nvPr/>
        </p:nvSpPr>
        <p:spPr>
          <a:xfrm>
            <a:off x="2216977" y="961123"/>
            <a:ext cx="16832" cy="16832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1377227C-C147-4D01-9C66-859C7FC531C4}"/>
              </a:ext>
            </a:extLst>
          </p:cNvPr>
          <p:cNvSpPr txBox="1"/>
          <p:nvPr/>
        </p:nvSpPr>
        <p:spPr>
          <a:xfrm>
            <a:off x="2286577" y="714373"/>
            <a:ext cx="2519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II</a:t>
            </a:r>
          </a:p>
        </p:txBody>
      </p: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A316FB3C-59E1-4DB2-AC9D-A272B35A4F1C}"/>
              </a:ext>
            </a:extLst>
          </p:cNvPr>
          <p:cNvCxnSpPr>
            <a:cxnSpLocks/>
          </p:cNvCxnSpPr>
          <p:nvPr/>
        </p:nvCxnSpPr>
        <p:spPr>
          <a:xfrm flipH="1">
            <a:off x="2282564" y="52547"/>
            <a:ext cx="165782" cy="34259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Gerader Verbinder 197">
            <a:extLst>
              <a:ext uri="{FF2B5EF4-FFF2-40B4-BE49-F238E27FC236}">
                <a16:creationId xmlns:a16="http://schemas.microsoft.com/office/drawing/2014/main" id="{27EEF531-1284-43F1-8E76-07132854613B}"/>
              </a:ext>
            </a:extLst>
          </p:cNvPr>
          <p:cNvCxnSpPr>
            <a:cxnSpLocks/>
          </p:cNvCxnSpPr>
          <p:nvPr/>
        </p:nvCxnSpPr>
        <p:spPr>
          <a:xfrm>
            <a:off x="2363846" y="228086"/>
            <a:ext cx="310389" cy="3968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15E42359-C9A1-4F0B-9685-5E0A1C4E49F2}"/>
              </a:ext>
            </a:extLst>
          </p:cNvPr>
          <p:cNvSpPr/>
          <p:nvPr/>
        </p:nvSpPr>
        <p:spPr>
          <a:xfrm rot="1565324">
            <a:off x="2268515" y="77878"/>
            <a:ext cx="380599" cy="38052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sp>
        <p:nvSpPr>
          <p:cNvPr id="196" name="Ellipse 195">
            <a:extLst>
              <a:ext uri="{FF2B5EF4-FFF2-40B4-BE49-F238E27FC236}">
                <a16:creationId xmlns:a16="http://schemas.microsoft.com/office/drawing/2014/main" id="{810F89EB-EAC9-45CE-91BC-0CD2357E5E3E}"/>
              </a:ext>
            </a:extLst>
          </p:cNvPr>
          <p:cNvSpPr/>
          <p:nvPr/>
        </p:nvSpPr>
        <p:spPr>
          <a:xfrm>
            <a:off x="2276183" y="385252"/>
            <a:ext cx="16832" cy="16832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10" dirty="0" err="1">
              <a:solidFill>
                <a:schemeClr val="tx1"/>
              </a:solidFill>
            </a:endParaRPr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7E8E4AF5-6FDF-4096-A9F9-0CF8416AA7BF}"/>
              </a:ext>
            </a:extLst>
          </p:cNvPr>
          <p:cNvSpPr txBox="1"/>
          <p:nvPr/>
        </p:nvSpPr>
        <p:spPr>
          <a:xfrm>
            <a:off x="2376212" y="291438"/>
            <a:ext cx="28565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I</a:t>
            </a:r>
          </a:p>
        </p:txBody>
      </p:sp>
      <p:cxnSp>
        <p:nvCxnSpPr>
          <p:cNvPr id="305" name="Gerade Verbindung mit Pfeil 304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>
            <a:off x="1722323" y="1540510"/>
            <a:ext cx="126758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912000" y="1413235"/>
                <a:ext cx="276229" cy="227755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8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</m:oMath>
                  </m:oMathPara>
                </a14:m>
                <a:endParaRPr lang="de-DE" sz="88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06" name="Textfeld 30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2000" y="1413235"/>
                <a:ext cx="276229" cy="22775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2158128" y="881902"/>
                <a:ext cx="310085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07" name="Textfeld 30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2158128" y="881902"/>
                <a:ext cx="310085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2299443" y="981040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08" name="Textfeld 30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2299443" y="981040"/>
                <a:ext cx="308931" cy="21544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09" name="Gerade Verbindung mit Pfeil 308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210860" y="183352"/>
            <a:ext cx="0" cy="1357159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71879" y="-27253"/>
                <a:ext cx="277961" cy="227755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8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𝑦</m:t>
                      </m:r>
                    </m:oMath>
                  </m:oMathPara>
                </a14:m>
                <a:endParaRPr lang="de-DE" sz="88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10" name="Textfeld 30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79" y="-27253"/>
                <a:ext cx="277961" cy="22775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>
            <a:off x="210860" y="1540510"/>
            <a:ext cx="126758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400537" y="1413235"/>
                <a:ext cx="276229" cy="227755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8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</m:oMath>
                  </m:oMathPara>
                </a14:m>
                <a:endParaRPr lang="de-DE" sz="88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12" name="Textfeld 31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0537" y="1413235"/>
                <a:ext cx="276229" cy="22775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4" name="Gruppieren 233">
            <a:extLst>
              <a:ext uri="{FF2B5EF4-FFF2-40B4-BE49-F238E27FC236}">
                <a16:creationId xmlns:a16="http://schemas.microsoft.com/office/drawing/2014/main" id="{B45F15D8-4246-462E-BBDE-F41159E653A0}"/>
              </a:ext>
            </a:extLst>
          </p:cNvPr>
          <p:cNvGrpSpPr/>
          <p:nvPr/>
        </p:nvGrpSpPr>
        <p:grpSpPr>
          <a:xfrm rot="20779304">
            <a:off x="349841" y="722710"/>
            <a:ext cx="706422" cy="706422"/>
            <a:chOff x="2739336" y="1568418"/>
            <a:chExt cx="1440000" cy="1440000"/>
          </a:xfrm>
        </p:grpSpPr>
        <p:cxnSp>
          <p:nvCxnSpPr>
            <p:cNvPr id="240" name="Gerader Verbinder 239">
              <a:extLst>
                <a:ext uri="{FF2B5EF4-FFF2-40B4-BE49-F238E27FC236}">
                  <a16:creationId xmlns:a16="http://schemas.microsoft.com/office/drawing/2014/main" id="{2C9ECA60-D121-4884-BA39-50F69B060A9C}"/>
                </a:ext>
              </a:extLst>
            </p:cNvPr>
            <p:cNvCxnSpPr>
              <a:cxnSpLocks/>
              <a:stCxn id="242" idx="1"/>
              <a:endCxn id="242" idx="3"/>
            </p:cNvCxnSpPr>
            <p:nvPr/>
          </p:nvCxnSpPr>
          <p:spPr>
            <a:xfrm>
              <a:off x="2739336" y="2288418"/>
              <a:ext cx="144000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Gerader Verbinder 240">
              <a:extLst>
                <a:ext uri="{FF2B5EF4-FFF2-40B4-BE49-F238E27FC236}">
                  <a16:creationId xmlns:a16="http://schemas.microsoft.com/office/drawing/2014/main" id="{17D58805-D04B-4D6A-AB93-038A22BAC6F1}"/>
                </a:ext>
              </a:extLst>
            </p:cNvPr>
            <p:cNvCxnSpPr>
              <a:cxnSpLocks/>
              <a:stCxn id="242" idx="2"/>
              <a:endCxn id="242" idx="0"/>
            </p:cNvCxnSpPr>
            <p:nvPr/>
          </p:nvCxnSpPr>
          <p:spPr>
            <a:xfrm flipV="1">
              <a:off x="3459336" y="1568418"/>
              <a:ext cx="0" cy="1440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Rechteck 241">
              <a:extLst>
                <a:ext uri="{FF2B5EF4-FFF2-40B4-BE49-F238E27FC236}">
                  <a16:creationId xmlns:a16="http://schemas.microsoft.com/office/drawing/2014/main" id="{A0FA9E2C-C4FD-48EC-B9D4-7A9B6AD3DC43}"/>
                </a:ext>
              </a:extLst>
            </p:cNvPr>
            <p:cNvSpPr/>
            <p:nvPr/>
          </p:nvSpPr>
          <p:spPr>
            <a:xfrm>
              <a:off x="2739336" y="1568418"/>
              <a:ext cx="1440000" cy="1440000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1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653A73EF-373B-4322-B8BC-F953FAAE7456}"/>
              </a:ext>
            </a:extLst>
          </p:cNvPr>
          <p:cNvCxnSpPr>
            <a:cxnSpLocks/>
          </p:cNvCxnSpPr>
          <p:nvPr/>
        </p:nvCxnSpPr>
        <p:spPr>
          <a:xfrm rot="20779304" flipV="1">
            <a:off x="673178" y="828018"/>
            <a:ext cx="0" cy="250308"/>
          </a:xfrm>
          <a:prstGeom prst="straightConnector1">
            <a:avLst/>
          </a:prstGeom>
          <a:ln w="12700">
            <a:solidFill>
              <a:srgbClr val="FF0000"/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C89863B9-D0C2-4491-862A-756617B8BB97}"/>
              </a:ext>
            </a:extLst>
          </p:cNvPr>
          <p:cNvCxnSpPr>
            <a:cxnSpLocks/>
          </p:cNvCxnSpPr>
          <p:nvPr/>
        </p:nvCxnSpPr>
        <p:spPr>
          <a:xfrm rot="20779304">
            <a:off x="699217" y="1045125"/>
            <a:ext cx="250781" cy="0"/>
          </a:xfrm>
          <a:prstGeom prst="straightConnector1">
            <a:avLst/>
          </a:prstGeom>
          <a:ln w="12700">
            <a:solidFill>
              <a:srgbClr val="FF0000"/>
            </a:solidFill>
            <a:prstDash val="sys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Gerader Verbinder 224">
            <a:extLst>
              <a:ext uri="{FF2B5EF4-FFF2-40B4-BE49-F238E27FC236}">
                <a16:creationId xmlns:a16="http://schemas.microsoft.com/office/drawing/2014/main" id="{212D20FD-F3ED-47B6-9DE4-8039B28C8540}"/>
              </a:ext>
            </a:extLst>
          </p:cNvPr>
          <p:cNvCxnSpPr>
            <a:cxnSpLocks/>
          </p:cNvCxnSpPr>
          <p:nvPr/>
        </p:nvCxnSpPr>
        <p:spPr>
          <a:xfrm>
            <a:off x="698609" y="1074777"/>
            <a:ext cx="662505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Gerader Verbinder 225">
            <a:extLst>
              <a:ext uri="{FF2B5EF4-FFF2-40B4-BE49-F238E27FC236}">
                <a16:creationId xmlns:a16="http://schemas.microsoft.com/office/drawing/2014/main" id="{46E6F281-32BA-420F-BCA6-1AF2A52FC119}"/>
              </a:ext>
            </a:extLst>
          </p:cNvPr>
          <p:cNvCxnSpPr>
            <a:cxnSpLocks/>
          </p:cNvCxnSpPr>
          <p:nvPr/>
        </p:nvCxnSpPr>
        <p:spPr>
          <a:xfrm flipV="1">
            <a:off x="945665" y="914936"/>
            <a:ext cx="433782" cy="100539"/>
          </a:xfrm>
          <a:prstGeom prst="line">
            <a:avLst/>
          </a:prstGeom>
          <a:ln w="127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Bogen 226">
            <a:extLst>
              <a:ext uri="{FF2B5EF4-FFF2-40B4-BE49-F238E27FC236}">
                <a16:creationId xmlns:a16="http://schemas.microsoft.com/office/drawing/2014/main" id="{A8F4ECE0-8659-4C9A-AAC6-0DEC9F5CD09F}"/>
              </a:ext>
            </a:extLst>
          </p:cNvPr>
          <p:cNvSpPr/>
          <p:nvPr/>
        </p:nvSpPr>
        <p:spPr>
          <a:xfrm>
            <a:off x="841602" y="831980"/>
            <a:ext cx="479852" cy="485593"/>
          </a:xfrm>
          <a:prstGeom prst="arc">
            <a:avLst>
              <a:gd name="adj1" fmla="val 19458952"/>
              <a:gd name="adj2" fmla="val 0"/>
            </a:avLst>
          </a:prstGeom>
          <a:ln w="12700">
            <a:solidFill>
              <a:schemeClr val="tx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981"/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B10E935D-EAEC-4B82-A436-1BB6D9C784D4}"/>
              </a:ext>
            </a:extLst>
          </p:cNvPr>
          <p:cNvCxnSpPr>
            <a:cxnSpLocks/>
          </p:cNvCxnSpPr>
          <p:nvPr/>
        </p:nvCxnSpPr>
        <p:spPr>
          <a:xfrm flipH="1">
            <a:off x="1302941" y="1087344"/>
            <a:ext cx="1" cy="453166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Gerader Verbinder 218">
            <a:extLst>
              <a:ext uri="{FF2B5EF4-FFF2-40B4-BE49-F238E27FC236}">
                <a16:creationId xmlns:a16="http://schemas.microsoft.com/office/drawing/2014/main" id="{6D9F20FA-C013-4612-B9F7-B88358EE100D}"/>
              </a:ext>
            </a:extLst>
          </p:cNvPr>
          <p:cNvCxnSpPr>
            <a:cxnSpLocks/>
          </p:cNvCxnSpPr>
          <p:nvPr/>
        </p:nvCxnSpPr>
        <p:spPr>
          <a:xfrm>
            <a:off x="697567" y="522698"/>
            <a:ext cx="0" cy="549614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Gerader Verbinder 220">
            <a:extLst>
              <a:ext uri="{FF2B5EF4-FFF2-40B4-BE49-F238E27FC236}">
                <a16:creationId xmlns:a16="http://schemas.microsoft.com/office/drawing/2014/main" id="{DD3797FF-5104-42FE-BE23-4F7B1B191C81}"/>
              </a:ext>
            </a:extLst>
          </p:cNvPr>
          <p:cNvCxnSpPr>
            <a:cxnSpLocks/>
          </p:cNvCxnSpPr>
          <p:nvPr/>
        </p:nvCxnSpPr>
        <p:spPr>
          <a:xfrm flipH="1">
            <a:off x="206050" y="541473"/>
            <a:ext cx="490379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/>
              <p:nvPr/>
            </p:nvSpPr>
            <p:spPr>
              <a:xfrm>
                <a:off x="310897" y="290279"/>
                <a:ext cx="511102" cy="2245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de-DE" sz="800" b="0" i="0" dirty="0" smtClean="0">
                              <a:latin typeface="Cambria Math" panose="02040503050406030204" pitchFamily="18" charset="0"/>
                            </a:rPr>
                            <m:t>offset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>
          <p:sp>
            <p:nvSpPr>
              <p:cNvPr id="214" name="Textfeld 213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0897" y="290279"/>
                <a:ext cx="511102" cy="22454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440688" y="728850"/>
                <a:ext cx="120600" cy="83792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13" name="Textfeld 312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440688" y="728850"/>
                <a:ext cx="120600" cy="83792"/>
              </a:xfrm>
              <a:prstGeom prst="rect">
                <a:avLst/>
              </a:prstGeom>
              <a:blipFill>
                <a:blip r:embed="rId11"/>
                <a:stretch>
                  <a:fillRect r="-58333" b="-94737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 rot="20770447">
                <a:off x="839922" y="831824"/>
                <a:ext cx="120151" cy="83792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118598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14" name="Textfeld 313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20770447">
                <a:off x="839922" y="831824"/>
                <a:ext cx="120151" cy="83792"/>
              </a:xfrm>
              <a:prstGeom prst="rect">
                <a:avLst/>
              </a:prstGeom>
              <a:blipFill>
                <a:blip r:embed="rId12"/>
                <a:stretch>
                  <a:fillRect r="-60870" b="-68421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/>
              <p:nvPr/>
            </p:nvSpPr>
            <p:spPr>
              <a:xfrm>
                <a:off x="1248310" y="1173235"/>
                <a:ext cx="511102" cy="2245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800" b="0" i="1" dirty="0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de-DE" sz="800" b="0" i="0" dirty="0" smtClean="0">
                              <a:latin typeface="Cambria Math" panose="02040503050406030204" pitchFamily="18" charset="0"/>
                            </a:rPr>
                            <m:t>offset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>
          <p:sp>
            <p:nvSpPr>
              <p:cNvPr id="315" name="Textfeld 314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8310" y="1173235"/>
                <a:ext cx="511102" cy="224549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6" name="Textfeld 315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/>
              <p:nvPr/>
            </p:nvSpPr>
            <p:spPr>
              <a:xfrm>
                <a:off x="1252733" y="865680"/>
                <a:ext cx="517513" cy="2245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800" b="0" i="1" dirty="0" smtClean="0">
                              <a:latin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de-DE" sz="800" b="0" i="0" dirty="0" smtClean="0">
                              <a:latin typeface="Cambria Math" panose="02040503050406030204" pitchFamily="18" charset="0"/>
                            </a:rPr>
                            <m:t>offset</m:t>
                          </m:r>
                        </m:sub>
                      </m:sSub>
                    </m:oMath>
                  </m:oMathPara>
                </a14:m>
                <a:endParaRPr lang="de-DE" sz="800" dirty="0"/>
              </a:p>
            </p:txBody>
          </p:sp>
        </mc:Choice>
        <mc:Fallback>
          <p:sp>
            <p:nvSpPr>
              <p:cNvPr id="316" name="Textfeld 315">
                <a:extLst>
                  <a:ext uri="{FF2B5EF4-FFF2-40B4-BE49-F238E27FC236}">
                    <a16:creationId xmlns:a16="http://schemas.microsoft.com/office/drawing/2014/main" id="{A98007BA-617A-42E1-AC1B-14AB8ED0A8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52733" y="865680"/>
                <a:ext cx="517513" cy="224549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6</Words>
  <Application>Microsoft Office PowerPoint</Application>
  <PresentationFormat>Benutzerdefiniert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14</cp:revision>
  <dcterms:created xsi:type="dcterms:W3CDTF">2020-02-07T12:21:17Z</dcterms:created>
  <dcterms:modified xsi:type="dcterms:W3CDTF">2020-02-26T09:27:18Z</dcterms:modified>
</cp:coreProperties>
</file>